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75238"/>
  </p:normalViewPr>
  <p:slideViewPr>
    <p:cSldViewPr snapToGrid="0">
      <p:cViewPr>
        <p:scale>
          <a:sx n="162" d="100"/>
          <a:sy n="162" d="100"/>
        </p:scale>
        <p:origin x="-864" y="-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491893"/>
              </p:ext>
            </p:extLst>
          </p:nvPr>
        </p:nvGraphicFramePr>
        <p:xfrm>
          <a:off x="341586" y="1007241"/>
          <a:ext cx="8660120" cy="5852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37160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7d 8h</a:t>
                      </a:r>
                      <a:br/>
                      <a:r>
                        <a:t> (⬇ + 5d 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0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/ 14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0 (51 - 15 - 4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3.77% - 20.68% - 5.56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 16h</a:t>
                      </a:r>
                      <a:br/>
                      <a:r>
                        <a:t> (⬆ - 5d 10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3 / 8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9 (123 - 28 - 18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3.58% - 11.82% - 4.6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18h</a:t>
                      </a:r>
                      <a:br/>
                      <a:r>
                        <a:t> (⬇ + 8d 1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 / 4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 (30 - 27 - 7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4.16% - 18.82% - 7.02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</a:t>
                      </a:r>
                      <a:br/>
                      <a:r>
                        <a:t> (⬆ - 2d 19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2 / 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12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(6 - 12 - 3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.9% - 5.36% - 18.74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2h</a:t>
                      </a:r>
                      <a:br/>
                      <a:r>
                        <a:t> (⬆ - 8h 7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2 / 3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4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2 (58 - 23 - 1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.46% - 7.28% - 6.26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3d 14h</a:t>
                      </a:r>
                      <a:br/>
                      <a:r>
                        <a:t> (⬇ + 17h 46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16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7 (17 - 8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85% - 15.6% - 4.55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2d 5h</a:t>
                      </a:r>
                      <a:br/>
                      <a:r>
                        <a:t> (⬇ + 17h 28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(12 - 4 - 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0.9% - 3.71% - 15.39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17h</a:t>
                      </a:r>
                      <a:br/>
                      <a:r>
                        <a:t> (⬆ - 1d 2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2 (30 - 10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3.31% - 9.61% - 7.07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20h</a:t>
                      </a:r>
                      <a:br/>
                      <a:r>
                        <a:t> (⬇ + 1d 19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8 (17 - 12 - 9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06% - 9.35% - 22.59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215230" y="75286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232746" y="694605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06039" y="100768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191296" y="109921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191296" y="247343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1295" y="393700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39466" y="393612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54535" y="420376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191294" y="321791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4</cp:revision>
  <dcterms:created xsi:type="dcterms:W3CDTF">2023-10-30T14:38:48Z</dcterms:created>
  <dcterms:modified xsi:type="dcterms:W3CDTF">2023-11-29T18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